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3673" r:id="rId2"/>
    <p:sldMasterId id="2147483704" r:id="rId3"/>
  </p:sldMasterIdLst>
  <p:notesMasterIdLst>
    <p:notesMasterId r:id="rId23"/>
  </p:notesMasterIdLst>
  <p:sldIdLst>
    <p:sldId id="258" r:id="rId4"/>
    <p:sldId id="303" r:id="rId5"/>
    <p:sldId id="266" r:id="rId6"/>
    <p:sldId id="267" r:id="rId7"/>
    <p:sldId id="268" r:id="rId8"/>
    <p:sldId id="270" r:id="rId9"/>
    <p:sldId id="298" r:id="rId10"/>
    <p:sldId id="299" r:id="rId11"/>
    <p:sldId id="273" r:id="rId12"/>
    <p:sldId id="274" r:id="rId13"/>
    <p:sldId id="275" r:id="rId14"/>
    <p:sldId id="287" r:id="rId15"/>
    <p:sldId id="277" r:id="rId16"/>
    <p:sldId id="300" r:id="rId17"/>
    <p:sldId id="301" r:id="rId18"/>
    <p:sldId id="292" r:id="rId19"/>
    <p:sldId id="293" r:id="rId20"/>
    <p:sldId id="296" r:id="rId21"/>
    <p:sldId id="297" r:id="rId22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6F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99645" autoAdjust="0"/>
  </p:normalViewPr>
  <p:slideViewPr>
    <p:cSldViewPr snapToGrid="0">
      <p:cViewPr varScale="1">
        <p:scale>
          <a:sx n="55" d="100"/>
          <a:sy n="55" d="100"/>
        </p:scale>
        <p:origin x="108" y="5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t>6/19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166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668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86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34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145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2649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1371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5736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6452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1458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5282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9115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3364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4030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0657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700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9422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3335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en-US" sz="8000" dirty="0">
                <a:solidFill>
                  <a:prstClr val="white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r">
              <a:defRPr/>
            </a:pPr>
            <a:r>
              <a:rPr lang="en-US" sz="8000" dirty="0">
                <a:solidFill>
                  <a:prstClr val="white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166110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619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en-US" sz="8000" dirty="0">
                <a:solidFill>
                  <a:prstClr val="white"/>
                </a:solidFill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r">
              <a:defRPr/>
            </a:pPr>
            <a:r>
              <a:rPr lang="en-US" sz="8000" dirty="0">
                <a:solidFill>
                  <a:prstClr val="white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7361151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3074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7697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17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187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7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77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  <a:endParaRPr lang="en-US" altLang="en-US" smtClean="0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  <a:endParaRPr lang="en-US" altLang="en-US" smtClean="0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07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>
              <a:defRPr/>
            </a:pPr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>
              <a:defRPr/>
            </a:pPr>
            <a:fld id="{C4226082-FF36-41EB-9C07-F6F93B54EE83}" type="slidenum">
              <a:rPr lang="en-US" smtClean="0">
                <a:solidFill>
                  <a:srgbClr val="146194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4619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3078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sz="54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ңа</a:t>
            </a:r>
            <a:r>
              <a:rPr lang="ru-RU" sz="54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54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lang="ru-RU" sz="54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54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дексінің</a:t>
            </a:r>
            <a:r>
              <a:rPr lang="ru-RU" sz="54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54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обасы</a:t>
            </a:r>
            <a:r>
              <a:rPr lang="ru-RU" sz="54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54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lang="ru-RU" sz="54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54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гізгі</a:t>
            </a:r>
            <a:r>
              <a:rPr lang="ru-RU" sz="54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54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ғыттар</a:t>
            </a:r>
            <a:endParaRPr lang="en-US" altLang="en-US" sz="5400" b="1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қ-</a:t>
            </a:r>
            <a:r>
              <a:rPr lang="ru-RU" sz="1800" i="1" kern="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</a:t>
            </a:r>
            <a:r>
              <a:rPr lang="ru-RU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4</a:t>
            </a:r>
            <a:r>
              <a:rPr lang="en-US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.</a:t>
            </a:r>
            <a:endParaRPr lang="ru-RU" sz="1800" i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F409DC-A4F7-4B07-117A-AC4A0E450F95}"/>
              </a:ext>
            </a:extLst>
          </p:cNvPr>
          <p:cNvSpPr txBox="1"/>
          <p:nvPr/>
        </p:nvSpPr>
        <p:spPr>
          <a:xfrm>
            <a:off x="67221" y="1767326"/>
            <a:ext cx="12035123" cy="28561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сы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-міндеттемелері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ар </a:t>
            </a:r>
            <a:r>
              <a:rPr lang="ru-RU" sz="20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ға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лама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ЖҚПБС+ </a:t>
            </a:r>
            <a:r>
              <a:rPr lang="ru-RU" sz="20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жимі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20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ға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ұқсат</a:t>
            </a:r>
            <a:r>
              <a:rPr lang="ru-RU" sz="20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  <a:endParaRPr lang="ru-RU" sz="20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на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ҚПБС+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н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уде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немдеуді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ау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44145" lvl="4" indent="-144145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ылған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жатты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дендтерге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мақтың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-экономикалық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муына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у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kern="0" dirty="0" smtClean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Ұлттық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ордың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шығындар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1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ыл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ішінд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– 140 млрд.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еңгені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ұрайд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, 2032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ылға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арай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барлық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шығындар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ЖҚПБС+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жимі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езінд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өндіру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өлемінің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өсуін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байланыст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өтелетін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болады</a:t>
            </a:r>
            <a:r>
              <a:rPr lang="ru-RU" sz="2000" b="1" dirty="0" smtClean="0">
                <a:solidFill>
                  <a:srgbClr val="002060"/>
                </a:solidFill>
                <a:ea typeface="Tahoma" pitchFamily="34" charset="0"/>
              </a:rPr>
              <a:t> </a:t>
            </a:r>
            <a:endParaRPr lang="ru-RU" sz="2000" b="1" dirty="0">
              <a:solidFill>
                <a:srgbClr val="002060"/>
              </a:solidFill>
              <a:ea typeface="Tahoma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A8607F4-5519-96B0-2389-5F5816BFD067}"/>
              </a:ext>
            </a:extLst>
          </p:cNvPr>
          <p:cNvSpPr/>
          <p:nvPr/>
        </p:nvSpPr>
        <p:spPr>
          <a:xfrm>
            <a:off x="67221" y="1140661"/>
            <a:ext cx="12035123" cy="539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рқылаты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тілге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ры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геруді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ынталандыру</a:t>
            </a:r>
            <a:endParaRPr lang="ru-RU" sz="2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1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Тау-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19637" y="1011562"/>
            <a:ext cx="11982708" cy="3523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логиялық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ау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ын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9637" y="3649908"/>
            <a:ext cx="11982708" cy="36535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гендік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ералды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ілімдерді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зірлеуді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04646" y="1361496"/>
            <a:ext cx="11982708" cy="21613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ау</a:t>
            </a:r>
            <a:endParaRPr lang="ru-RU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келерді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ғ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нуін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маста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БЖ-</a:t>
            </a: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д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ПҚ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БЖ </a:t>
            </a: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тсіз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ау</a:t>
            </a:r>
            <a:endParaRPr lang="ru-RU" sz="1600" b="1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Т </a:t>
            </a: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у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БЖ </a:t>
            </a: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endParaRPr lang="ru-RU" sz="16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ПҚ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БЖ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4646" y="4144826"/>
            <a:ext cx="119827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МТ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мына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балар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-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не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1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і</a:t>
            </a:r>
            <a:endParaRPr lang="ru-RU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4897845"/>
            <a:ext cx="11982708" cy="5619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кі</a:t>
            </a: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нтабельділік</a:t>
            </a: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сы</a:t>
            </a: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5%-дан </a:t>
            </a: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тын</a:t>
            </a: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u="sng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теп</a:t>
            </a:r>
            <a:r>
              <a:rPr lang="ru-RU" b="1" u="sng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u="sng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ан</a:t>
            </a:r>
            <a:r>
              <a:rPr lang="ru-RU" b="1" u="sng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u="sng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b="1" u="sng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u="sng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рының</a:t>
            </a:r>
            <a:r>
              <a:rPr lang="ru-RU" b="1" u="sng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u="sng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b="1" u="sng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u="sng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гі</a:t>
            </a:r>
            <a:r>
              <a:rPr lang="ru-RU" b="1" u="sng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b="1" u="sng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бы</a:t>
            </a:r>
            <a:r>
              <a:rPr lang="ru-RU" b="1" u="sng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у-</a:t>
            </a: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</a:t>
            </a:r>
            <a:r>
              <a:rPr lang="kk-KZ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ғы </a:t>
            </a: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өлдік</a:t>
            </a: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сын</a:t>
            </a: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9637" y="5646930"/>
            <a:ext cx="1198270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R 15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-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енг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а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ты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ақытқ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ер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птік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тоқсанн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лс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-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ы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өлде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н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йту</a:t>
            </a:r>
            <a:endParaRPr lang="ru-RU" sz="1400" i="1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76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ұлғаларғ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1035401"/>
            <a:ext cx="12057517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дың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іне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ТС-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н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ың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ілге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лар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өлшерлемелер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latin typeface="Arial" panose="020B0604020202020204" pitchFamily="34" charset="0"/>
                <a:cs typeface="Arial" panose="020B0604020202020204" pitchFamily="34" charset="0"/>
              </a:rPr>
              <a:t>шкаласы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ынтық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50 млн.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аты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жымайты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20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Көлік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салығының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көтерілге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мөлшерлемелері</a:t>
            </a:r>
            <a:endParaRPr lang="ru-RU" sz="2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	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кедендік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құн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75 млн.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теңгеде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асаты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жеңіл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автомобильдер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бойынша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(</a:t>
            </a:r>
            <a:r>
              <a:rPr lang="ru-RU" i="1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кедендік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i="1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құнының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10%)</a:t>
            </a:r>
            <a:endParaRPr lang="ru-RU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де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збе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трде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аты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мбат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коголь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і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гаралар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1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дана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мбат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із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елері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шу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тары</a:t>
            </a:r>
            <a:endParaRPr lang="ru-RU" sz="2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20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не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к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н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қ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тері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йін-0,7; 2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0,5)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953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ЕАҚ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у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ет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89186" y="1974611"/>
            <a:ext cx="11593744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20000"/>
              </a:lnSpc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ыңғай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сы</a:t>
            </a: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ЖТС-</a:t>
            </a:r>
            <a:r>
              <a:rPr kumimoji="1" lang="ru-RU" sz="20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: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лерсіз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ақы</a:t>
            </a:r>
            <a:endParaRPr kumimoji="1" lang="ru-RU" sz="20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ТС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к </a:t>
            </a:r>
            <a:r>
              <a:rPr kumimoji="1"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ЗЖ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ты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АЕК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4 АЕК). </a:t>
            </a:r>
            <a:r>
              <a:rPr kumimoji="1"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kumimoji="1"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ді</a:t>
            </a:r>
            <a:r>
              <a:rPr kumimoji="1"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ю</a:t>
            </a:r>
            <a:r>
              <a:rPr kumimoji="1"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ТС=(ЖС-МЗЖ - 30 АЕК)*10%)</a:t>
            </a:r>
            <a:endParaRPr kumimoji="1" lang="ru-RU" sz="20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kumimoji="1" lang="ru-RU" sz="20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ға</a:t>
            </a: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кімет</a:t>
            </a: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endParaRPr kumimoji="1" lang="ru-RU" sz="20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3402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знеске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рланды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ұралдар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1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594090" y="956945"/>
            <a:ext cx="2117725" cy="358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i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507454" y="957760"/>
            <a:ext cx="3136305" cy="3589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i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i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</a:t>
            </a:r>
            <a:r>
              <a:rPr lang="ru-RU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graphicFrame>
        <p:nvGraphicFramePr>
          <p:cNvPr id="13" name="Таблица 12"/>
          <p:cNvGraphicFramePr/>
          <p:nvPr>
            <p:extLst>
              <p:ext uri="{D42A27DB-BD31-4B8C-83A1-F6EECF244321}">
                <p14:modId xmlns:p14="http://schemas.microsoft.com/office/powerpoint/2010/main" val="462244201"/>
              </p:ext>
            </p:extLst>
          </p:nvPr>
        </p:nvGraphicFramePr>
        <p:xfrm>
          <a:off x="362139" y="1344215"/>
          <a:ext cx="11220261" cy="5471501"/>
        </p:xfrm>
        <a:graphic>
          <a:graphicData uri="http://schemas.openxmlformats.org/drawingml/2006/table">
            <a:tbl>
              <a:tblPr/>
              <a:tblGrid>
                <a:gridCol w="70178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024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1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.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азақстандық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эмитенттердің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рыштық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ағалы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ағаздары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(МБҚ-дан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асқа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) </a:t>
                      </a:r>
                      <a:r>
                        <a:rPr lang="en-US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50" b="1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smtClean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ru-RU" sz="1050" b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лынған БЦБ бойынша сыйақы</a:t>
                      </a:r>
                      <a:r>
                        <a:rPr lang="en-US" sz="1050" b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5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4573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езиденттер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ЗТ-</a:t>
                      </a:r>
                      <a:r>
                        <a:rPr lang="en-US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KASE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месе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AIX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рналасқан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ББҚ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КТН-дан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сату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;</a:t>
                      </a:r>
                    </a:p>
                    <a:p>
                      <a:pPr indent="0">
                        <a:buNone/>
                      </a:pP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езиденттер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-ЖТ-</a:t>
                      </a:r>
                      <a:r>
                        <a:rPr lang="ru-RU" sz="105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ЖТС-дан </a:t>
                      </a:r>
                      <a:r>
                        <a:rPr lang="ru-RU" sz="105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босату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;</a:t>
                      </a:r>
                      <a:endParaRPr lang="en-US" altLang="en-US" sz="105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ru-RU" sz="1050" b="1" dirty="0" smtClean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  <a:p>
                      <a:pPr indent="0" algn="ctr">
                        <a:buNone/>
                      </a:pP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тек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қазақстандық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ББҚ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үшін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ғана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8724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 smtClean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ейрезидент</a:t>
                      </a:r>
                      <a:r>
                        <a:rPr lang="en-US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-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өзден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лынатын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алық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5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KASE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месе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AIX -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тегі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ББҚ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КТС/ЖТС-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тан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сату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асқа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жағдайларда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</a:t>
                      </a:r>
                      <a:r>
                        <a:rPr lang="ru-RU" sz="1050" b="1" u="sng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жалпы</a:t>
                      </a:r>
                      <a:r>
                        <a:rPr lang="ru-RU" sz="1050" b="1" u="sng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мөлшерлеме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-</a:t>
                      </a:r>
                      <a:r>
                        <a:rPr lang="ru-RU" sz="105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15%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, </a:t>
                      </a:r>
                      <a:r>
                        <a:rPr lang="ru-RU" sz="1050" b="1" u="sng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ффшорларда-20%</a:t>
                      </a:r>
                      <a:endParaRPr lang="en-US" altLang="en-US" sz="1050" b="1" u="sng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басқа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жағдайларда-жалпы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мөлшерлеме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- 10%, оффшорларда-20%</a:t>
                      </a:r>
                      <a:endParaRPr lang="en-US" altLang="en-US" sz="1050" b="1" kern="1200" dirty="0">
                        <a:solidFill>
                          <a:srgbClr val="00B050"/>
                        </a:solidFill>
                        <a:latin typeface="Arial" panose="020B0604020202020204" charset="-52"/>
                        <a:ea typeface="+mn-ea"/>
                        <a:cs typeface="+mn-cs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154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онвенциялар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10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ға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ейін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төмендету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ұқығы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%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қолданудың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қажеті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оқ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,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еңілдету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 smtClean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ұнның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өсуі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5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ұстау</a:t>
                      </a:r>
                      <a:r>
                        <a:rPr lang="ru-RU" sz="105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мерзіміне</a:t>
                      </a:r>
                      <a:r>
                        <a:rPr lang="ru-RU" sz="105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қарамастан</a:t>
                      </a:r>
                      <a:r>
                        <a:rPr lang="ru-RU" sz="105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салық</a:t>
                      </a:r>
                      <a:r>
                        <a:rPr lang="ru-RU" sz="105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салынады</a:t>
                      </a:r>
                      <a:endParaRPr lang="en-US" altLang="en-US" sz="105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иелену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мерзімі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кемінде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3 </a:t>
                      </a: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жыл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болған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кезде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босатуды</a:t>
                      </a:r>
                      <a:r>
                        <a:rPr lang="ru-RU" sz="1050" b="1" kern="120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1" kern="1200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енгізу</a:t>
                      </a:r>
                      <a:endParaRPr lang="en-US" altLang="en-US" sz="1050" b="1" kern="1200" dirty="0">
                        <a:solidFill>
                          <a:srgbClr val="00B050"/>
                        </a:solidFill>
                        <a:latin typeface="Arial" panose="020B0604020202020204" charset="-52"/>
                        <a:ea typeface="+mn-ea"/>
                        <a:cs typeface="+mn-cs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KASE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месе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AIX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-босату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асқалары-резиденттер-20% / 10%; бейрезиденттер-15%</a:t>
                      </a:r>
                      <a:endParaRPr lang="en-US" altLang="en-US" sz="105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2. 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Р ЕДБ –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ағы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епозиттер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-ЖТ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лған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ыйақы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ЖТС:</a:t>
                      </a:r>
                      <a:endParaRPr lang="en-US" altLang="en-US" sz="1050" b="1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езиденттер-босатылады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босатуды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керек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 err="1" smtClean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бейрезиденттерге</a:t>
                      </a:r>
                      <a:r>
                        <a:rPr lang="ru-RU" sz="1050" b="0" dirty="0" smtClean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 -</a:t>
                      </a:r>
                      <a:r>
                        <a:rPr lang="ru-RU" sz="105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15%мөлшерлеме </a:t>
                      </a:r>
                      <a:r>
                        <a:rPr lang="ru-RU" sz="105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5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салық</a:t>
                      </a:r>
                      <a:r>
                        <a:rPr lang="ru-RU" sz="105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салынады</a:t>
                      </a:r>
                      <a:endParaRPr lang="en-US" altLang="en-US" sz="105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1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ылдан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астам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лымдар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-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босатуды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енгізу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; </a:t>
                      </a:r>
                    </a:p>
                    <a:p>
                      <a:pPr indent="0" algn="ctr">
                        <a:buNone/>
                      </a:pP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1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ылдан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аз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болса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-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74573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3.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нвестициялық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орлардың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айлары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және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жылжымайтын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мүліктің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нвестициялық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орларының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кциялары-</a:t>
                      </a:r>
                      <a:r>
                        <a:rPr lang="ru-RU" sz="1050" b="1" kern="120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инвестициялық</a:t>
                      </a:r>
                      <a:r>
                        <a:rPr lang="ru-RU" sz="1050" b="1" kern="120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1" kern="120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табыстың</a:t>
                      </a:r>
                      <a:r>
                        <a:rPr lang="ru-RU" sz="1050" b="1" kern="120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КТС/ЖТС-дан </a:t>
                      </a:r>
                      <a:r>
                        <a:rPr lang="ru-RU" sz="1050" b="1" kern="120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босату</a:t>
                      </a:r>
                      <a:endParaRPr lang="en-US" altLang="en-US" sz="1050" b="1" kern="1200" dirty="0">
                        <a:solidFill>
                          <a:srgbClr val="FF0000"/>
                        </a:solidFill>
                        <a:latin typeface="Arial" panose="020B0604020202020204" charset="-52"/>
                        <a:ea typeface="+mn-ea"/>
                        <a:cs typeface="+mn-cs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қосымша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шарттарды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енгізу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арқылы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еңілдікті</a:t>
                      </a:r>
                      <a:r>
                        <a:rPr lang="ru-RU" sz="105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шектеу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74573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4. 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Р ЕДБ-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ағы</a:t>
                      </a:r>
                      <a:r>
                        <a:rPr lang="ru-RU" sz="105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арыздар-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ері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левередж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гізінде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өзара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айланысты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тараптар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егерімді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ектей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тырып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,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ыйақы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ығыстарды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егеру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(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ассалық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әдіс</a:t>
                      </a:r>
                      <a:r>
                        <a:rPr lang="ru-RU" sz="105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)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4332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изнеск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рланды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құралдары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(2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594090" y="956945"/>
            <a:ext cx="2117725" cy="358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i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b="1" i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b="1" i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507454" y="957760"/>
            <a:ext cx="3136305" cy="3589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i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i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</a:t>
            </a:r>
            <a:r>
              <a:rPr lang="ru-RU" b="1" i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b="1" i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6"/>
          <p:cNvGraphicFramePr/>
          <p:nvPr>
            <p:extLst>
              <p:ext uri="{D42A27DB-BD31-4B8C-83A1-F6EECF244321}">
                <p14:modId xmlns:p14="http://schemas.microsoft.com/office/powerpoint/2010/main" val="386895175"/>
              </p:ext>
            </p:extLst>
          </p:nvPr>
        </p:nvGraphicFramePr>
        <p:xfrm>
          <a:off x="498475" y="1362075"/>
          <a:ext cx="11042015" cy="4935855"/>
        </p:xfrm>
        <a:graphic>
          <a:graphicData uri="http://schemas.openxmlformats.org/drawingml/2006/table">
            <a:tbl>
              <a:tblPr/>
              <a:tblGrid>
                <a:gridCol w="7502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9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769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5.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етелден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лынған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арыздар-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ері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левередж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гізінде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өзара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айланысты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Тараптар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егерімді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ектей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тырып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,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ыйақы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ығыстарды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егеру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.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өзден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лынатын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алық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жалпы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мөлшерлеме-15%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10%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00" b="1" u="sng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ффшорларда-</a:t>
                      </a:r>
                      <a:r>
                        <a:rPr lang="ru-RU" sz="1000" b="1" u="sng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20%</a:t>
                      </a:r>
                      <a:endParaRPr lang="en-US" altLang="en-US" sz="1000" b="1" u="sng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2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0%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35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онвенциялар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10%</a:t>
                      </a:r>
                      <a:r>
                        <a:rPr lang="kk-KZ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-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ға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ейін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төмендету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ұқығы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қолданудың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қажеті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оқ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,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еңілдету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6.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Жарғылық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апиталға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тікелей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нвестициялар</a:t>
                      </a:r>
                      <a:r>
                        <a:rPr lang="en-US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00" b="1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1" dirty="0" smtClean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ивидендтер</a:t>
                      </a:r>
                      <a:r>
                        <a:rPr lang="en-US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0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smtClean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Р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езиденттері-пайдаға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КТС (20%)+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алынады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endParaRPr lang="en-US" altLang="en-US" sz="100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545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ЖТ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ивидендтерінен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өзден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лынатын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алық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(</a:t>
                      </a:r>
                      <a:r>
                        <a:rPr lang="ru-RU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30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мың</a:t>
                      </a:r>
                      <a:r>
                        <a:rPr lang="ru-RU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АЕК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шегінде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босату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, </a:t>
                      </a:r>
                      <a:r>
                        <a:rPr lang="ru-RU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10% – дан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жоғары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)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5%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KASE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немесе</a:t>
                      </a:r>
                      <a:r>
                        <a:rPr lang="ru-RU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AIX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жүйесіндегілер</a:t>
                      </a:r>
                      <a:r>
                        <a:rPr lang="ru-RU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босату</a:t>
                      </a:r>
                      <a:endParaRPr lang="en-US" altLang="en-US" sz="100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еңілдікті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алып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тастау</a:t>
                      </a:r>
                      <a:r>
                        <a:rPr lang="ru-RU" sz="1000" b="1" baseline="0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(5</a:t>
                      </a:r>
                      <a:r>
                        <a:rPr lang="ru-RU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%)</a:t>
                      </a:r>
                      <a:endParaRPr lang="en-US" altLang="en-US" sz="1000" b="1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smtClean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ейрезиденттер-пайдаға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КТС (20%)+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алынады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endParaRPr lang="en-US" altLang="en-US" sz="100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ивидендтер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өзінен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лынатын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алық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-</a:t>
                      </a:r>
                      <a:r>
                        <a:rPr lang="en-US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KASE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немесе</a:t>
                      </a:r>
                      <a:r>
                        <a:rPr lang="ru-RU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AIX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босату</a:t>
                      </a:r>
                      <a:endParaRPr lang="en-US" altLang="en-US" sz="100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5% (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арғылық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капиталдағы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үлесі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кемінде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25%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болғанда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) (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оның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ішінде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ХВҚ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ұсынымдарын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ескере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отырып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);</a:t>
                      </a:r>
                    </a:p>
                    <a:p>
                      <a:pPr indent="0" algn="ctr">
                        <a:buNone/>
                      </a:pP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жалпы</a:t>
                      </a:r>
                      <a:r>
                        <a:rPr lang="ru-RU" sz="1000" b="1" dirty="0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ставка-15 %</a:t>
                      </a:r>
                    </a:p>
                    <a:p>
                      <a:pPr indent="0" algn="ctr">
                        <a:buNone/>
                      </a:pP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charset="-52"/>
                        </a:rPr>
                        <a:t>оффшорларда-20%</a:t>
                      </a:r>
                      <a:endParaRPr lang="en-US" altLang="en-US" sz="1000" b="0" dirty="0">
                        <a:solidFill>
                          <a:schemeClr val="tx1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жалпы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ставка-</a:t>
                      </a:r>
                      <a:r>
                        <a:rPr lang="ru-RU" sz="1000" b="0" dirty="0" smtClean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15%</a:t>
                      </a:r>
                      <a:endParaRPr lang="en-US" altLang="en-US" sz="100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9972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ффшорларда-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20%</a:t>
                      </a:r>
                      <a:endParaRPr lang="en-US" altLang="en-US" sz="1000" b="1" dirty="0">
                        <a:solidFill>
                          <a:schemeClr val="tx1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3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онвенциялар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5% -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ға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ейін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төмендету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ұқығы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, 10%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1" dirty="0" smtClean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Р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эмитенттерінің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кциялары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мен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атысу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үлестері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құнның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1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өсуі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0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елену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мерзімі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емінде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3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жыл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лғанда-босату</a:t>
                      </a:r>
                      <a:endParaRPr lang="en-US" altLang="en-US" sz="100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KASE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месе</a:t>
                      </a: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AIX </a:t>
                      </a:r>
                      <a:r>
                        <a:rPr lang="ru-RU" sz="1000" b="0" dirty="0" err="1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ойынша-босату</a:t>
                      </a:r>
                      <a:endParaRPr lang="en-US" altLang="en-US" sz="100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00" b="0" dirty="0" smtClean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асқалары-резиденттер-20% / 10%; бейрезиденттер-15%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 err="1" smtClean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ақтау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77215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рнай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режимдері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376722"/>
              </p:ext>
            </p:extLst>
          </p:nvPr>
        </p:nvGraphicFramePr>
        <p:xfrm>
          <a:off x="283222" y="1066389"/>
          <a:ext cx="11241840" cy="5633176"/>
        </p:xfrm>
        <a:graphic>
          <a:graphicData uri="http://schemas.openxmlformats.org/drawingml/2006/table">
            <a:tbl>
              <a:tblPr/>
              <a:tblGrid>
                <a:gridCol w="17177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3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77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292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467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467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20144">
                <a:tc>
                  <a:txBody>
                    <a:bodyPr/>
                    <a:lstStyle/>
                    <a:p>
                      <a:pPr algn="l" fontAlgn="t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убъект</a:t>
                      </a: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Объект</a:t>
                      </a: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Табыс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шегі</a:t>
                      </a:r>
                      <a:endParaRPr lang="ru-RU" sz="13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Қызметкерлер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саны</a:t>
                      </a:r>
                      <a:endParaRPr lang="ru-RU" sz="13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Мөлшерлеме</a:t>
                      </a:r>
                      <a:endParaRPr lang="ru-RU" sz="13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53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Өзін-өзі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ұмыспен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қамтығандарға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арналған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АСР</a:t>
                      </a:r>
                      <a:r>
                        <a:rPr lang="ru-RU" sz="13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(патент,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мобильді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қосымша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платформалық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ұмыспен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қамту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ru-RU" sz="13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Т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Табыс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йына</a:t>
                      </a:r>
                      <a:r>
                        <a:rPr lang="ru-RU" sz="13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 340 </a:t>
                      </a:r>
                      <a:r>
                        <a:rPr lang="ru-RU" sz="13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ЕК</a:t>
                      </a:r>
                      <a:r>
                        <a:rPr lang="ru-RU" sz="13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13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1,25 млн. </a:t>
                      </a:r>
                      <a:r>
                        <a:rPr lang="ru-RU" sz="1300" b="1" i="0" u="none" strike="noStrike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теңге</a:t>
                      </a:r>
                      <a:r>
                        <a:rPr lang="ru-RU" sz="13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)</a:t>
                      </a:r>
                      <a:r>
                        <a:rPr lang="ru-RU" sz="1300" b="1" i="0" u="none" strike="noStrike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13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түрлерін</a:t>
                      </a:r>
                      <a:r>
                        <a:rPr lang="ru-RU" sz="13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 тек </a:t>
                      </a:r>
                      <a:r>
                        <a:rPr lang="ru-RU" sz="1300" b="1" i="0" u="none" strike="noStrike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тізбеге</a:t>
                      </a:r>
                      <a:r>
                        <a:rPr lang="ru-RU" sz="13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сәйкес</a:t>
                      </a:r>
                      <a:r>
                        <a:rPr lang="ru-RU" sz="13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жүзеге</a:t>
                      </a:r>
                      <a:r>
                        <a:rPr lang="ru-RU" sz="13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асыратын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% тек МЗЖ, ӘА, МӘМС,</a:t>
                      </a:r>
                    </a:p>
                    <a:p>
                      <a:pPr algn="ctr" rtl="0" fontAlgn="ctr"/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ЖТС-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н</a:t>
                      </a:r>
                      <a:r>
                        <a:rPr lang="ru-RU" sz="1300" b="1" i="0" u="none" strike="noStrike" kern="1200" baseline="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baseline="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асқа</a:t>
                      </a:r>
                      <a:endParaRPr lang="ru-RU" sz="13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7724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Шағын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изнеске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арналған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АСР</a:t>
                      </a:r>
                      <a:endParaRPr lang="ru-RU" sz="13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К, ЖШС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Табыс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5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ың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АЕК (500 млн.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теңге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артық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емес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Шектеу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Өндіріс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үшін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-2%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endParaRPr lang="ru-RU" sz="13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асқалар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:</a:t>
                      </a:r>
                    </a:p>
                    <a:p>
                      <a:pPr algn="ctr" rtl="0" fontAlgn="ctr"/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%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(В2С); 8% (В2В))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318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5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ың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АЕК (500 млн.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еңге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)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ейінгі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іріс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інде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ЖК-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ің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ухгалтерлік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себін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үргізбеу</a:t>
                      </a:r>
                      <a:endParaRPr lang="ru-RU" sz="13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01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ызмет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үрлері-тыйым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салу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ізімі</a:t>
                      </a:r>
                      <a:endParaRPr lang="ru-RU" sz="13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02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х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ЗТ-АШТӨ, ШФҚ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еңілдіктер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ақталады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3772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ШФҚ </a:t>
                      </a:r>
                      <a:r>
                        <a:rPr lang="ru-RU" sz="13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үшін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АСР</a:t>
                      </a:r>
                      <a:endParaRPr lang="ru-RU" sz="13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ШФҚ 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еңілдіктер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ұрынғыдай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ақталады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ЖС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ойыла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отырып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 тек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ШФҚ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үшін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ЖТС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түрінде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төленеді</a:t>
                      </a:r>
                      <a:endParaRPr lang="ru-RU" sz="13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тиімсіз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пайдаланылған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ерлер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ер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ғы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азалық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өлшерлеменің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40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селенген</a:t>
                      </a:r>
                      <a:r>
                        <a:rPr lang="ru-RU" sz="13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өлшерінде</a:t>
                      </a:r>
                      <a:endParaRPr lang="ru-RU" sz="13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0261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ағ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изнеск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СР-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егі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ЭҚЖЖ-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ің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ыйым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ізімі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162962" y="928452"/>
            <a:ext cx="6292159" cy="5447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ctr"/>
            <a:r>
              <a:rPr lang="ru-RU" sz="12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 fontAlgn="ctr"/>
            <a:endParaRPr lang="ru-RU" sz="12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</a:t>
            </a:r>
            <a:r>
              <a:rPr kumimoji="1"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тк</a:t>
            </a:r>
            <a:r>
              <a:rPr kumimoji="1"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,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ихотропт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курсорларды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зделеті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д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терінд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ықт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ерея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оактивт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дарды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окер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іні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лдалд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орл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зет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ік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рғ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ондарды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ш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дег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д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у-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1" lang="ru-RU" sz="12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еріні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нзинд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изель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н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зутт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здеуг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ицензия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ат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т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дарды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нықтар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қтар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йында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зинг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г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ғ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рларын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т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1, 2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тағ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л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алқ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ді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на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ді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ындай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ілеті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а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ты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мағынд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на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6913821" y="758323"/>
            <a:ext cx="4668266" cy="32316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1200" b="1" dirty="0" smtClean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sz="12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ры</a:t>
            </a: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>
              <a:defRPr/>
            </a:pPr>
            <a:endParaRPr lang="ru-RU" sz="12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ды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5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ызда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ат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с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згілд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ул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кшеліктері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ны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с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лер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дың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лері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түрлі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д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кендерд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шауланған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лер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1" lang="ru-RU" sz="12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мерциялық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тік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ар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ХҚО </a:t>
            </a:r>
            <a:r>
              <a:rPr kumimoji="1"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ы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b="1" dirty="0">
              <a:solidFill>
                <a:schemeClr val="bg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909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изнест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асанд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ұсақталуын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ұр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7150" y="1072594"/>
            <a:ext cx="2749424" cy="8195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79000" y="1120426"/>
            <a:ext cx="9144001" cy="72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Кодекст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бизнест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қасақан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бөлшекте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көрсеткіштер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айқында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өлшемшарттар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белгіле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7150" y="2806574"/>
            <a:ext cx="2749424" cy="269793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 </a:t>
            </a:r>
            <a:r>
              <a:rPr lang="ru-RU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удің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белгілері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79000" y="2910470"/>
            <a:ext cx="9581584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бірыңғай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бақылаушы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тұлға</a:t>
            </a:r>
            <a:endParaRPr lang="ru-RU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қызмет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көрсетудің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,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өндірістің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бірыңғай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процесі</a:t>
            </a:r>
            <a:endParaRPr lang="ru-RU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шешім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қабылдау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кезінде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бақылаудағы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адамдардың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дербестігінің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болмауы</a:t>
            </a:r>
            <a:endParaRPr lang="ru-RU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ортақ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ресурстарды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/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активтерді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(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қызметкерлер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,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негізгі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құралдар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,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материалдық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емес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активтер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)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пайдалану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және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ортақ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контрагенттердің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болуы</a:t>
            </a:r>
            <a:endParaRPr lang="ru-RU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ресурстарды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ресми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бөлу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немесе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оларды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өтеусіз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бер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705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6"/>
            <a:ext cx="12192000" cy="86609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ЖК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есептеудің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әдістемесі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/>
          </p:cNvSpPr>
          <p:nvPr/>
        </p:nvSpPr>
        <p:spPr bwMode="auto">
          <a:xfrm>
            <a:off x="274212" y="3577764"/>
            <a:ext cx="4799019" cy="7078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>
              <a:lnSpc>
                <a:spcPct val="115000"/>
              </a:lnSpc>
              <a:spcAft>
                <a:spcPts val="600"/>
              </a:spcAft>
              <a:buClr>
                <a:srgbClr val="0070CE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ЖК </a:t>
            </a:r>
            <a:r>
              <a:rPr lang="en-US" alt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дың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alt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ЖТ</a:t>
            </a: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58"/>
          <p:cNvSpPr>
            <a:spLocks noChangeArrowheads="1"/>
          </p:cNvSpPr>
          <p:nvPr/>
        </p:nvSpPr>
        <p:spPr bwMode="auto">
          <a:xfrm>
            <a:off x="6216253" y="4542544"/>
            <a:ext cx="5311775" cy="1327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+  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Бизнестің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ерекшелігі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мен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тиімділігін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 smtClean="0">
                <a:solidFill>
                  <a:srgbClr val="002060"/>
                </a:solidFill>
                <a:cs typeface="Arial" panose="020B0604020202020204" pitchFamily="34" charset="0"/>
              </a:rPr>
              <a:t>ескеруге</a:t>
            </a:r>
            <a:r>
              <a:rPr lang="ru-RU" altLang="ru-RU" dirty="0" smtClean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мүмкіндік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 smtClean="0">
                <a:solidFill>
                  <a:srgbClr val="002060"/>
                </a:solidFill>
                <a:cs typeface="Arial" panose="020B0604020202020204" pitchFamily="34" charset="0"/>
              </a:rPr>
              <a:t>береді</a:t>
            </a:r>
            <a:endParaRPr lang="ru-RU" altLang="ru-RU" dirty="0" smtClean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r>
              <a:rPr lang="ru-RU" altLang="ru-RU" dirty="0" smtClean="0">
                <a:solidFill>
                  <a:srgbClr val="002060"/>
                </a:solidFill>
                <a:cs typeface="Arial" panose="020B0604020202020204" pitchFamily="34" charset="0"/>
              </a:rPr>
              <a:t>-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Салық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төлеуші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бойынша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неғұрлым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толық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мазмұнды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ақпаратты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талап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етеді</a:t>
            </a:r>
            <a:endParaRPr lang="ru-RU" altLang="ru-RU" dirty="0" smtClean="0">
              <a:cs typeface="Arial" panose="020B0604020202020204" pitchFamily="34" charset="0"/>
            </a:endParaRPr>
          </a:p>
        </p:txBody>
      </p:sp>
      <p:grpSp>
        <p:nvGrpSpPr>
          <p:cNvPr id="13" name="Group 14"/>
          <p:cNvGrpSpPr>
            <a:grpSpLocks/>
          </p:cNvGrpSpPr>
          <p:nvPr/>
        </p:nvGrpSpPr>
        <p:grpSpPr bwMode="auto">
          <a:xfrm>
            <a:off x="274212" y="2968550"/>
            <a:ext cx="4911537" cy="390660"/>
            <a:chOff x="174945" y="383575"/>
            <a:chExt cx="4036470" cy="686385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gray">
            <a:xfrm>
              <a:off x="174945" y="1062038"/>
              <a:ext cx="3898087" cy="7922"/>
            </a:xfrm>
            <a:prstGeom prst="straightConnector1">
              <a:avLst/>
            </a:prstGeom>
            <a:noFill/>
            <a:ln w="19050">
              <a:solidFill>
                <a:srgbClr val="0070CE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TextBox 16"/>
            <p:cNvSpPr txBox="1">
              <a:spLocks/>
            </p:cNvSpPr>
            <p:nvPr/>
          </p:nvSpPr>
          <p:spPr bwMode="gray">
            <a:xfrm>
              <a:off x="199009" y="383575"/>
              <a:ext cx="4012406" cy="6732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000000"/>
                </a:buClr>
                <a:buSzTx/>
              </a:pPr>
              <a:r>
                <a:rPr lang="ru-RU" altLang="ru-RU" sz="2400" b="1" i="1" dirty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ЛДАНЫСТАҒЫ ӘДІСТЕМЕ</a:t>
              </a:r>
            </a:p>
          </p:txBody>
        </p:sp>
      </p:grpSp>
      <p:grpSp>
        <p:nvGrpSpPr>
          <p:cNvPr id="16" name="Группа 41"/>
          <p:cNvGrpSpPr>
            <a:grpSpLocks/>
          </p:cNvGrpSpPr>
          <p:nvPr/>
        </p:nvGrpSpPr>
        <p:grpSpPr bwMode="auto">
          <a:xfrm>
            <a:off x="6345440" y="2971874"/>
            <a:ext cx="5324475" cy="382411"/>
            <a:chOff x="4322763" y="810433"/>
            <a:chExt cx="4646612" cy="348442"/>
          </a:xfrm>
        </p:grpSpPr>
        <p:sp>
          <p:nvSpPr>
            <p:cNvPr id="17" name="TextBox 18"/>
            <p:cNvSpPr txBox="1">
              <a:spLocks/>
            </p:cNvSpPr>
            <p:nvPr/>
          </p:nvSpPr>
          <p:spPr bwMode="auto">
            <a:xfrm>
              <a:off x="4322763" y="810433"/>
              <a:ext cx="4522787" cy="336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0070CE"/>
                </a:buClr>
              </a:pPr>
              <a:r>
                <a:rPr lang="en-US" altLang="ru-RU" sz="2400" b="1" i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BITDA </a:t>
              </a:r>
              <a:r>
                <a:rPr lang="ru-RU" altLang="ru-RU" sz="2400" b="1" i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ДІСТЕМЕСІ</a:t>
              </a:r>
            </a:p>
          </p:txBody>
        </p:sp>
        <p:cxnSp>
          <p:nvCxnSpPr>
            <p:cNvPr id="18" name="Straight Connector 19"/>
            <p:cNvCxnSpPr>
              <a:cxnSpLocks/>
            </p:cNvCxnSpPr>
            <p:nvPr/>
          </p:nvCxnSpPr>
          <p:spPr>
            <a:xfrm flipH="1" flipV="1">
              <a:off x="4322763" y="1150938"/>
              <a:ext cx="4646612" cy="7937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9"/>
          <p:cNvSpPr txBox="1">
            <a:spLocks/>
          </p:cNvSpPr>
          <p:nvPr/>
        </p:nvSpPr>
        <p:spPr bwMode="auto">
          <a:xfrm>
            <a:off x="6235577" y="3656894"/>
            <a:ext cx="5544199" cy="67781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>
              <a:lnSpc>
                <a:spcPct val="115000"/>
              </a:lnSpc>
              <a:spcAft>
                <a:spcPts val="600"/>
              </a:spcAft>
              <a:buClr>
                <a:srgbClr val="0070CE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ЖК </a:t>
            </a:r>
            <a:r>
              <a:rPr lang="en-US" alt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дың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BITDA</a:t>
            </a:r>
            <a:r>
              <a:rPr lang="en-US" alt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alt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58"/>
          <p:cNvSpPr>
            <a:spLocks noChangeArrowheads="1"/>
          </p:cNvSpPr>
          <p:nvPr/>
        </p:nvSpPr>
        <p:spPr bwMode="auto">
          <a:xfrm>
            <a:off x="274212" y="4542544"/>
            <a:ext cx="4799019" cy="761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+    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Есептеудің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жеңіл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әдісі</a:t>
            </a:r>
            <a:endParaRPr lang="ru-RU" altLang="ru-RU" sz="7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-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Кәсіпорынның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тиімділігін</a:t>
            </a: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dirty="0" err="1">
                <a:solidFill>
                  <a:srgbClr val="002060"/>
                </a:solidFill>
                <a:cs typeface="Arial" panose="020B0604020202020204" pitchFamily="34" charset="0"/>
              </a:rPr>
              <a:t>ескермейді</a:t>
            </a:r>
            <a:endParaRPr lang="ru-RU" altLang="ru-RU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74212" y="1149790"/>
            <a:ext cx="11585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ивт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темен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BITDA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ЖК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уді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стемес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endParaRPr lang="en-US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540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шысының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псырмалары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Группа 10"/>
          <p:cNvGrpSpPr>
            <a:grpSpLocks/>
          </p:cNvGrpSpPr>
          <p:nvPr/>
        </p:nvGrpSpPr>
        <p:grpSpPr bwMode="auto">
          <a:xfrm>
            <a:off x="2720680" y="1273175"/>
            <a:ext cx="3147015" cy="4118613"/>
            <a:chOff x="2720596" y="1273912"/>
            <a:chExt cx="3147315" cy="4118330"/>
          </a:xfrm>
        </p:grpSpPr>
        <p:sp>
          <p:nvSpPr>
            <p:cNvPr id="26" name="TextBox 4"/>
            <p:cNvSpPr txBox="1">
              <a:spLocks noChangeAspect="1"/>
            </p:cNvSpPr>
            <p:nvPr/>
          </p:nvSpPr>
          <p:spPr bwMode="auto">
            <a:xfrm>
              <a:off x="2854254" y="1822279"/>
              <a:ext cx="2880000" cy="3569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раланған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өлшерлемелеріне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өш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ңғыртуғ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ғытталға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йдада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ТС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өмендет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най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жимдері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ңілдет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өлшек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т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лдануд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еңейт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ән-салтанат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ғын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гіз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т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қылауд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о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ифрландыр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йымдардың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сақан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өлінуіне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л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рмеу</a:t>
              </a:r>
              <a:endParaRPr lang="ru-RU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TextBox 5"/>
            <p:cNvSpPr txBox="1">
              <a:spLocks noChangeArrowheads="1"/>
            </p:cNvSpPr>
            <p:nvPr/>
          </p:nvSpPr>
          <p:spPr bwMode="auto">
            <a:xfrm>
              <a:off x="2720596" y="1273912"/>
              <a:ext cx="3147315" cy="3693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2 </a:t>
              </a:r>
              <a:r>
                <a:rPr lang="ru-RU" altLang="en-US" sz="16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ы</a:t>
              </a:r>
              <a:r>
                <a:rPr lang="ru-RU" altLang="en-US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01 </a:t>
              </a:r>
              <a:r>
                <a:rPr lang="ru-RU" altLang="en-US" sz="16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ркүйектегі</a:t>
              </a: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</p:txBody>
        </p:sp>
      </p:grpSp>
      <p:grpSp>
        <p:nvGrpSpPr>
          <p:cNvPr id="28" name="Группа 11"/>
          <p:cNvGrpSpPr>
            <a:grpSpLocks/>
          </p:cNvGrpSpPr>
          <p:nvPr/>
        </p:nvGrpSpPr>
        <p:grpSpPr bwMode="auto">
          <a:xfrm>
            <a:off x="5769512" y="1273175"/>
            <a:ext cx="3139001" cy="4626458"/>
            <a:chOff x="5913176" y="1273912"/>
            <a:chExt cx="3139301" cy="4626019"/>
          </a:xfrm>
        </p:grpSpPr>
        <p:sp>
          <p:nvSpPr>
            <p:cNvPr id="29" name="TextBox 6"/>
            <p:cNvSpPr txBox="1">
              <a:spLocks noChangeAspect="1"/>
            </p:cNvSpPr>
            <p:nvPr/>
          </p:nvSpPr>
          <p:spPr bwMode="auto">
            <a:xfrm>
              <a:off x="6042826" y="1822279"/>
              <a:ext cx="2880000" cy="4077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ңдеуші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неркәсіптегі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ғашқ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ш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орлард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өлеуде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сат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ӨК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йт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ңдеу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ші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т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ынталандырулар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тар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ен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өлемдер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нының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% -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ғ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заюы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демелі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уд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гіз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ңілдіктері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-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ға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сқарт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змет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өрсету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деліне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өш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т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қылауд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о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ифрландыр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септілігі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ысандары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30% -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ғ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сқарту</a:t>
              </a:r>
              <a:endParaRPr lang="ru-RU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extBox 7"/>
            <p:cNvSpPr txBox="1">
              <a:spLocks noChangeArrowheads="1"/>
            </p:cNvSpPr>
            <p:nvPr/>
          </p:nvSpPr>
          <p:spPr bwMode="auto">
            <a:xfrm>
              <a:off x="5913176" y="1273912"/>
              <a:ext cx="3139301" cy="338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3 </a:t>
              </a:r>
              <a:r>
                <a:rPr lang="ru-RU" altLang="en-US" sz="16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ы</a:t>
              </a:r>
              <a:r>
                <a:rPr lang="ru-RU" altLang="en-US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01 </a:t>
              </a:r>
              <a:r>
                <a:rPr lang="ru-RU" altLang="en-US" sz="16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ркүйектегі</a:t>
              </a:r>
              <a:r>
                <a:rPr lang="ru-RU" altLang="en-US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</p:txBody>
        </p:sp>
      </p:grpSp>
      <p:grpSp>
        <p:nvGrpSpPr>
          <p:cNvPr id="31" name="Группа 12"/>
          <p:cNvGrpSpPr>
            <a:grpSpLocks/>
          </p:cNvGrpSpPr>
          <p:nvPr/>
        </p:nvGrpSpPr>
        <p:grpSpPr bwMode="auto">
          <a:xfrm>
            <a:off x="8929753" y="1273175"/>
            <a:ext cx="2908168" cy="3826189"/>
            <a:chOff x="9057630" y="1273912"/>
            <a:chExt cx="2908446" cy="3826170"/>
          </a:xfrm>
        </p:grpSpPr>
        <p:sp>
          <p:nvSpPr>
            <p:cNvPr id="32" name="TextBox 8"/>
            <p:cNvSpPr txBox="1">
              <a:spLocks noChangeArrowheads="1"/>
            </p:cNvSpPr>
            <p:nvPr/>
          </p:nvSpPr>
          <p:spPr bwMode="auto">
            <a:xfrm>
              <a:off x="9071852" y="1822279"/>
              <a:ext cx="2880000" cy="32778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йд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ен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үлікке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удың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ң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үйесі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гіз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йдан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йт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ялауға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ынталандыр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т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най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жимдерді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згерт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ңілдіктері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удың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ш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қты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режелері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зірле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ҚС </a:t>
              </a:r>
              <a:r>
                <a:rPr lang="ru-RU" altLang="en-US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формалау</a:t>
              </a:r>
              <a:endParaRPr lang="ru-RU" alt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т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кімшілендіруді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ифрландыру</a:t>
              </a:r>
              <a:endParaRPr lang="ru-RU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9"/>
            <p:cNvSpPr txBox="1">
              <a:spLocks noChangeArrowheads="1"/>
            </p:cNvSpPr>
            <p:nvPr/>
          </p:nvSpPr>
          <p:spPr bwMode="auto">
            <a:xfrm>
              <a:off x="9057630" y="1273912"/>
              <a:ext cx="2908446" cy="369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4 </a:t>
              </a:r>
              <a:r>
                <a:rPr lang="ru-RU" altLang="en-US" sz="16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ы</a:t>
              </a:r>
              <a:r>
                <a:rPr lang="ru-RU" altLang="en-US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07 </a:t>
              </a:r>
              <a:r>
                <a:rPr lang="ru-RU" altLang="en-US" sz="16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қпандағы</a:t>
              </a:r>
              <a:r>
                <a:rPr lang="ru-RU" altLang="en-US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endPara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Номер слайда 33"/>
          <p:cNvSpPr>
            <a:spLocks noGrp="1"/>
          </p:cNvSpPr>
          <p:nvPr>
            <p:ph type="sldNum" sz="quarter" idx="12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>
                <a:solidFill>
                  <a:srgbClr val="146194">
                    <a:lumMod val="50000"/>
                  </a:srgbClr>
                </a:solidFill>
              </a:rPr>
              <a:pPr/>
              <a:t>1</a:t>
            </a:fld>
            <a:endParaRPr lang="en-US" sz="1050" dirty="0">
              <a:solidFill>
                <a:srgbClr val="146194">
                  <a:lumMod val="50000"/>
                </a:srgbClr>
              </a:solidFill>
            </a:endParaRPr>
          </a:p>
        </p:txBody>
      </p:sp>
      <p:pic>
        <p:nvPicPr>
          <p:cNvPr id="36" name="Picture 23" descr="C:\Users\kazbekov_e\Downloads\dsc-8977-24_mediumThumb.png">
            <a:extLst>
              <a:ext uri="{FF2B5EF4-FFF2-40B4-BE49-F238E27FC236}">
                <a16:creationId xmlns:a16="http://schemas.microsoft.com/office/drawing/2014/main" id="{5413E143-9635-42B5-BD4E-D5A12164AB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691" r="19846" b="6928"/>
          <a:stretch/>
        </p:blipFill>
        <p:spPr bwMode="auto">
          <a:xfrm>
            <a:off x="75351" y="1164657"/>
            <a:ext cx="2613874" cy="2362943"/>
          </a:xfrm>
          <a:prstGeom prst="ellipse">
            <a:avLst/>
          </a:prstGeom>
          <a:ln w="63500" cap="rnd">
            <a:solidFill>
              <a:schemeClr val="tx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02181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заңнамасыны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лжамдылығы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98703" y="1710199"/>
            <a:ext cx="3071812" cy="131356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98425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ының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дылығы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98703" y="3161944"/>
            <a:ext cx="3071812" cy="99359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98425" lvl="0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сын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ндіру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6"/>
          <p:cNvSpPr txBox="1">
            <a:spLocks noChangeArrowheads="1"/>
          </p:cNvSpPr>
          <p:nvPr/>
        </p:nvSpPr>
        <p:spPr bwMode="auto">
          <a:xfrm>
            <a:off x="3735612" y="2023492"/>
            <a:ext cx="806291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>
            <a:spAutoFit/>
          </a:bodyPr>
          <a:lstStyle>
            <a:lvl1pPr marL="142875" indent="-142875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негізгі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жоспарланған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өзгерістерді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көрсете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отырып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, 2030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жылға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дейінгі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Салық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саясаты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тұжырымдамасын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қабылдау</a:t>
            </a:r>
            <a:endParaRPr lang="ru-RU" altLang="ru-RU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40" name="TextBox 7"/>
          <p:cNvSpPr txBox="1">
            <a:spLocks noChangeArrowheads="1"/>
          </p:cNvSpPr>
          <p:nvPr/>
        </p:nvSpPr>
        <p:spPr bwMode="auto">
          <a:xfrm>
            <a:off x="3735611" y="3351390"/>
            <a:ext cx="806291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42875" indent="-142875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даулы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нормаларды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бірыңғай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түсіндіру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үшін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Премьер -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Министрдің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орынбасары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деңгейінде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әдістемелік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кеңес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құру</a:t>
            </a:r>
            <a:endParaRPr lang="ru-RU" altLang="ru-RU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98703" y="1614949"/>
            <a:ext cx="3071812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42" name="TextBox 9"/>
          <p:cNvSpPr txBox="1">
            <a:spLocks noChangeArrowheads="1"/>
          </p:cNvSpPr>
          <p:nvPr/>
        </p:nvSpPr>
        <p:spPr bwMode="auto">
          <a:xfrm>
            <a:off x="498703" y="1184737"/>
            <a:ext cx="24828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псырма</a:t>
            </a:r>
            <a:endParaRPr lang="ru-RU" altLang="en-US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3735615" y="1614949"/>
            <a:ext cx="8062913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3735615" y="1184737"/>
            <a:ext cx="24812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ru-RU" altLang="en-US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тар</a:t>
            </a:r>
            <a:endParaRPr lang="ru-RU" altLang="en-US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98703" y="4397741"/>
            <a:ext cx="3071812" cy="117919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98425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шім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удың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делдігі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7"/>
          <p:cNvSpPr txBox="1">
            <a:spLocks noChangeArrowheads="1"/>
          </p:cNvSpPr>
          <p:nvPr/>
        </p:nvSpPr>
        <p:spPr bwMode="auto">
          <a:xfrm>
            <a:off x="3735610" y="4446262"/>
            <a:ext cx="806291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42875" indent="-142875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жедел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,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икемді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ден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қою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және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жақсартатын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өзгерістер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енгізу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үшін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Үкімет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пен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уәкілетті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органның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заңға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тәуелді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актілеріне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көшу</a:t>
            </a:r>
            <a:endParaRPr lang="ru-RU" altLang="ru-RU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583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та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н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23474" y="1634168"/>
            <a:ext cx="24479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28625" y="1038225"/>
            <a:ext cx="24479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068639" y="1154111"/>
            <a:ext cx="24479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030538" y="1038225"/>
            <a:ext cx="24479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682456" y="1154111"/>
            <a:ext cx="30956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598320" y="1038225"/>
            <a:ext cx="3129756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мдар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8883650" y="1590911"/>
            <a:ext cx="30956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8883650" y="1038225"/>
            <a:ext cx="30956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дар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407987" y="1503363"/>
            <a:ext cx="246380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ыңғай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endParaRPr lang="en-US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12"/>
          <p:cNvSpPr txBox="1">
            <a:spLocks noChangeArrowheads="1"/>
          </p:cNvSpPr>
          <p:nvPr/>
        </p:nvSpPr>
        <p:spPr bwMode="auto">
          <a:xfrm>
            <a:off x="3025776" y="1503363"/>
            <a:ext cx="2413000" cy="250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кш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латы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иғи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мақтар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тқ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нек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нам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аластыр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ензиялар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тары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ман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нуарл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үниес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13"/>
          <p:cNvSpPr txBox="1">
            <a:spLocks noChangeArrowheads="1"/>
          </p:cNvSpPr>
          <p:nvPr/>
        </p:nvSpPr>
        <p:spPr bwMode="auto">
          <a:xfrm>
            <a:off x="5579269" y="1503363"/>
            <a:ext cx="3208337" cy="250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жымал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піл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рыш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.құралд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ымд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-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оарн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пасөз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ылымы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қтарын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ожиіл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ктр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14"/>
          <p:cNvSpPr txBox="1">
            <a:spLocks noChangeArrowheads="1"/>
          </p:cNvSpPr>
          <p:nvPr/>
        </p:nvSpPr>
        <p:spPr bwMode="auto">
          <a:xfrm>
            <a:off x="8883650" y="1503363"/>
            <a:ext cx="3142456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ізшінің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әліг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тариатт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әрекетте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втомобиль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р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әліг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нуарл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дікте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тауғ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тауғ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р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тауғ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яткерл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әкілетт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ның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екетте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15"/>
          <p:cNvSpPr txBox="1">
            <a:spLocks noChangeArrowheads="1"/>
          </p:cNvSpPr>
          <p:nvPr/>
        </p:nvSpPr>
        <p:spPr bwMode="auto">
          <a:xfrm>
            <a:off x="356696" y="3985950"/>
            <a:ext cx="2466975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9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900" i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</a:t>
            </a:r>
            <a:r>
              <a:rPr lang="ru-RU" sz="9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жалықтары</a:t>
            </a:r>
            <a:r>
              <a:rPr lang="ru-RU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ТС </a:t>
            </a:r>
            <a:r>
              <a:rPr lang="ru-RU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СК </a:t>
            </a:r>
            <a:r>
              <a:rPr lang="ru-RU" sz="900" b="1" i="1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9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i="1" dirty="0" err="1">
                <a:latin typeface="Arial" pitchFamily="34" charset="0"/>
                <a:cs typeface="Arial" pitchFamily="34" charset="0"/>
              </a:rPr>
              <a:t>басқа</a:t>
            </a:r>
            <a:r>
              <a:rPr lang="ru-RU" sz="9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i="1" dirty="0" err="1">
                <a:latin typeface="Arial" pitchFamily="34" charset="0"/>
                <a:cs typeface="Arial" pitchFamily="34" charset="0"/>
              </a:rPr>
              <a:t>салықтар</a:t>
            </a:r>
            <a:r>
              <a:rPr lang="ru-RU" sz="9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i="1" dirty="0" err="1"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9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i="1" dirty="0" err="1">
                <a:latin typeface="Arial" pitchFamily="34" charset="0"/>
                <a:cs typeface="Arial" pitchFamily="34" charset="0"/>
              </a:rPr>
              <a:t>мөлшерлемені</a:t>
            </a:r>
            <a:r>
              <a:rPr lang="ru-RU" sz="9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i="1" dirty="0" err="1">
                <a:latin typeface="Arial" pitchFamily="34" charset="0"/>
                <a:cs typeface="Arial" pitchFamily="34" charset="0"/>
              </a:rPr>
              <a:t>көтеру</a:t>
            </a:r>
            <a:r>
              <a:rPr lang="ru-RU" sz="9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i="1" dirty="0" err="1">
                <a:latin typeface="Arial" pitchFamily="34" charset="0"/>
                <a:cs typeface="Arial" pitchFamily="34" charset="0"/>
              </a:rPr>
              <a:t>есебінен</a:t>
            </a:r>
            <a:r>
              <a:rPr lang="ru-RU" sz="9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i="1" dirty="0" smtClean="0">
                <a:latin typeface="Arial" pitchFamily="34" charset="0"/>
                <a:cs typeface="Arial" pitchFamily="34" charset="0"/>
              </a:rPr>
              <a:t>ӘС </a:t>
            </a:r>
            <a:r>
              <a:rPr lang="ru-RU" sz="900" b="1" i="1" dirty="0" err="1" smtClean="0">
                <a:latin typeface="Arial" pitchFamily="34" charset="0"/>
                <a:cs typeface="Arial" pitchFamily="34" charset="0"/>
              </a:rPr>
              <a:t>өтемақысы</a:t>
            </a:r>
            <a:r>
              <a:rPr lang="ru-RU" sz="900" i="1" dirty="0" smtClean="0">
                <a:latin typeface="Arial" pitchFamily="34" charset="0"/>
                <a:cs typeface="Arial" pitchFamily="34" charset="0"/>
              </a:rPr>
              <a:t>)</a:t>
            </a:r>
            <a:endParaRPr lang="ru-RU" altLang="en-US" sz="9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16"/>
          <p:cNvSpPr txBox="1">
            <a:spLocks noChangeArrowheads="1"/>
          </p:cNvSpPr>
          <p:nvPr/>
        </p:nvSpPr>
        <p:spPr bwMode="auto">
          <a:xfrm>
            <a:off x="2965450" y="3985950"/>
            <a:ext cx="242728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,4 млрд</a:t>
            </a: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₸ </a:t>
            </a:r>
            <a:r>
              <a:rPr lang="ru-RU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endParaRPr lang="ru-RU" altLang="en-US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17"/>
          <p:cNvSpPr txBox="1">
            <a:spLocks noChangeArrowheads="1"/>
          </p:cNvSpPr>
          <p:nvPr/>
        </p:nvSpPr>
        <p:spPr bwMode="auto">
          <a:xfrm>
            <a:off x="5623391" y="3970561"/>
            <a:ext cx="2606209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k-KZ" altLang="en-US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en-US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altLang="en-US" b="1" dirty="0" smtClean="0">
                <a:solidFill>
                  <a:prstClr val="black"/>
                </a:solidFill>
                <a:cs typeface="Calibri" panose="020F0502020204030204" pitchFamily="34" charset="0"/>
              </a:rPr>
              <a:t>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18"/>
          <p:cNvSpPr txBox="1">
            <a:spLocks noChangeArrowheads="1"/>
          </p:cNvSpPr>
          <p:nvPr/>
        </p:nvSpPr>
        <p:spPr bwMode="auto">
          <a:xfrm>
            <a:off x="8883650" y="3984363"/>
            <a:ext cx="309562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</a:t>
            </a: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altLang="en-US" b="1" dirty="0" smtClean="0">
                <a:solidFill>
                  <a:prstClr val="black"/>
                </a:solidFill>
                <a:cs typeface="Calibri" panose="020F0502020204030204" pitchFamily="34" charset="0"/>
              </a:rPr>
              <a:t>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470693" y="4028233"/>
            <a:ext cx="11555413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53" name="Левая фигурная скобка 52"/>
          <p:cNvSpPr/>
          <p:nvPr/>
        </p:nvSpPr>
        <p:spPr>
          <a:xfrm>
            <a:off x="2730113" y="2814638"/>
            <a:ext cx="333375" cy="1143000"/>
          </a:xfrm>
          <a:prstGeom prst="leftBrace">
            <a:avLst/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15"/>
          <p:cNvSpPr txBox="1">
            <a:spLocks noChangeArrowheads="1"/>
          </p:cNvSpPr>
          <p:nvPr/>
        </p:nvSpPr>
        <p:spPr bwMode="auto">
          <a:xfrm>
            <a:off x="292742" y="3214779"/>
            <a:ext cx="23717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естіру</a:t>
            </a:r>
            <a:endParaRPr lang="ru-RU" altLang="en-US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23"/>
          <p:cNvSpPr txBox="1">
            <a:spLocks noChangeArrowheads="1"/>
          </p:cNvSpPr>
          <p:nvPr/>
        </p:nvSpPr>
        <p:spPr bwMode="auto">
          <a:xfrm>
            <a:off x="584782" y="4921399"/>
            <a:ext cx="7360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900" i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i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</a:t>
            </a:r>
            <a:endParaRPr lang="en-US" altLang="en-US" sz="9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Стрелка вправо 55"/>
          <p:cNvSpPr/>
          <p:nvPr/>
        </p:nvSpPr>
        <p:spPr>
          <a:xfrm>
            <a:off x="1295598" y="5019726"/>
            <a:ext cx="528638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TextBox 25"/>
          <p:cNvSpPr txBox="1">
            <a:spLocks noChangeArrowheads="1"/>
          </p:cNvSpPr>
          <p:nvPr/>
        </p:nvSpPr>
        <p:spPr bwMode="auto">
          <a:xfrm>
            <a:off x="1835599" y="4915621"/>
            <a:ext cx="7361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endParaRPr lang="ru-RU" sz="9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</a:t>
            </a:r>
            <a:endParaRPr lang="en-US" altLang="en-US" sz="9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28"/>
          <p:cNvSpPr txBox="1">
            <a:spLocks noChangeArrowheads="1"/>
          </p:cNvSpPr>
          <p:nvPr/>
        </p:nvSpPr>
        <p:spPr bwMode="auto">
          <a:xfrm>
            <a:off x="2985780" y="5263457"/>
            <a:ext cx="96372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3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Стрелка вправо 58"/>
          <p:cNvSpPr/>
          <p:nvPr/>
        </p:nvSpPr>
        <p:spPr>
          <a:xfrm>
            <a:off x="3853404" y="5428557"/>
            <a:ext cx="530225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TextBox 30"/>
          <p:cNvSpPr txBox="1">
            <a:spLocks noChangeArrowheads="1"/>
          </p:cNvSpPr>
          <p:nvPr/>
        </p:nvSpPr>
        <p:spPr bwMode="auto">
          <a:xfrm>
            <a:off x="4366903" y="5244407"/>
            <a:ext cx="96372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6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31"/>
          <p:cNvSpPr txBox="1">
            <a:spLocks noChangeArrowheads="1"/>
          </p:cNvSpPr>
          <p:nvPr/>
        </p:nvSpPr>
        <p:spPr bwMode="auto">
          <a:xfrm>
            <a:off x="6018157" y="4616721"/>
            <a:ext cx="96372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0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Стрелка вправо 61"/>
          <p:cNvSpPr/>
          <p:nvPr/>
        </p:nvSpPr>
        <p:spPr>
          <a:xfrm>
            <a:off x="6868320" y="4780233"/>
            <a:ext cx="530225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TextBox 33"/>
          <p:cNvSpPr txBox="1">
            <a:spLocks noChangeArrowheads="1"/>
          </p:cNvSpPr>
          <p:nvPr/>
        </p:nvSpPr>
        <p:spPr bwMode="auto">
          <a:xfrm>
            <a:off x="7398545" y="4623071"/>
            <a:ext cx="96372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6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37"/>
          <p:cNvSpPr txBox="1">
            <a:spLocks noChangeArrowheads="1"/>
          </p:cNvSpPr>
          <p:nvPr/>
        </p:nvSpPr>
        <p:spPr bwMode="auto">
          <a:xfrm>
            <a:off x="9254276" y="4621483"/>
            <a:ext cx="96372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3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Стрелка вправо 64"/>
          <p:cNvSpPr/>
          <p:nvPr/>
        </p:nvSpPr>
        <p:spPr>
          <a:xfrm>
            <a:off x="10216357" y="4804045"/>
            <a:ext cx="530225" cy="153987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TextBox 39"/>
          <p:cNvSpPr txBox="1">
            <a:spLocks noChangeArrowheads="1"/>
          </p:cNvSpPr>
          <p:nvPr/>
        </p:nvSpPr>
        <p:spPr bwMode="auto">
          <a:xfrm>
            <a:off x="10753670" y="4618308"/>
            <a:ext cx="96372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Левая фигурная скобка 2">
            <a:extLst>
              <a:ext uri="{FF2B5EF4-FFF2-40B4-BE49-F238E27FC236}">
                <a16:creationId xmlns:a16="http://schemas.microsoft.com/office/drawing/2014/main" id="{B1C8253F-3443-B2E0-BD9C-5B2BC33C6C20}"/>
              </a:ext>
            </a:extLst>
          </p:cNvPr>
          <p:cNvSpPr/>
          <p:nvPr/>
        </p:nvSpPr>
        <p:spPr>
          <a:xfrm rot="16200000">
            <a:off x="5868627" y="449406"/>
            <a:ext cx="545425" cy="11034504"/>
          </a:xfrm>
          <a:prstGeom prst="leftBrace">
            <a:avLst>
              <a:gd name="adj1" fmla="val 118539"/>
              <a:gd name="adj2" fmla="val 50005"/>
            </a:avLst>
          </a:prstGeom>
          <a:ln w="38100">
            <a:solidFill>
              <a:srgbClr val="002060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C8670C-469E-AF41-5BF5-1140121745C1}"/>
              </a:ext>
            </a:extLst>
          </p:cNvPr>
          <p:cNvSpPr txBox="1"/>
          <p:nvPr/>
        </p:nvSpPr>
        <p:spPr>
          <a:xfrm>
            <a:off x="5542076" y="6344787"/>
            <a:ext cx="1403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,</a:t>
            </a: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23"/>
          <p:cNvSpPr txBox="1">
            <a:spLocks noChangeArrowheads="1"/>
          </p:cNvSpPr>
          <p:nvPr/>
        </p:nvSpPr>
        <p:spPr bwMode="auto">
          <a:xfrm>
            <a:off x="3209644" y="4669400"/>
            <a:ext cx="59343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altLang="en-US" sz="10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en-US" sz="10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Стрелка вправо 67"/>
          <p:cNvSpPr/>
          <p:nvPr/>
        </p:nvSpPr>
        <p:spPr>
          <a:xfrm>
            <a:off x="3843486" y="4839262"/>
            <a:ext cx="528638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TextBox 25"/>
          <p:cNvSpPr txBox="1">
            <a:spLocks noChangeArrowheads="1"/>
          </p:cNvSpPr>
          <p:nvPr/>
        </p:nvSpPr>
        <p:spPr bwMode="auto">
          <a:xfrm>
            <a:off x="4452940" y="4682016"/>
            <a:ext cx="59343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altLang="en-US" sz="10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en-US" sz="10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867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ері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30290" y="999914"/>
            <a:ext cx="48856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200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2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2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32ED3A2-4E46-4924-8DDF-8B21D20E9469}"/>
              </a:ext>
            </a:extLst>
          </p:cNvPr>
          <p:cNvSpPr/>
          <p:nvPr/>
        </p:nvSpPr>
        <p:spPr>
          <a:xfrm>
            <a:off x="54274" y="1394576"/>
            <a:ext cx="4427757" cy="4369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548,8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</a:t>
            </a:r>
            <a:r>
              <a:rPr kumimoji="0" lang="ru-RU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ңге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0D016D19-97E3-42C4-BA4B-8E09980D9E23}"/>
              </a:ext>
            </a:extLst>
          </p:cNvPr>
          <p:cNvSpPr/>
          <p:nvPr/>
        </p:nvSpPr>
        <p:spPr>
          <a:xfrm>
            <a:off x="54275" y="3044632"/>
            <a:ext cx="4503111" cy="4138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ТС: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,4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</a:t>
            </a:r>
            <a:r>
              <a:rPr kumimoji="0" lang="ru-RU" sz="11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ңге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D016D19-97E3-42C4-BA4B-8E09980D9E23}"/>
              </a:ext>
            </a:extLst>
          </p:cNvPr>
          <p:cNvSpPr/>
          <p:nvPr/>
        </p:nvSpPr>
        <p:spPr>
          <a:xfrm>
            <a:off x="54276" y="2148827"/>
            <a:ext cx="4503110" cy="3858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ТС:</a:t>
            </a:r>
            <a:r>
              <a:rPr kumimoji="0" lang="ru-RU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938,4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тенге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D016D19-97E3-42C4-BA4B-8E09980D9E23}"/>
              </a:ext>
            </a:extLst>
          </p:cNvPr>
          <p:cNvSpPr/>
          <p:nvPr/>
        </p:nvSpPr>
        <p:spPr>
          <a:xfrm>
            <a:off x="68623" y="1771609"/>
            <a:ext cx="4512322" cy="41675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ҚС: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604,3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</a:t>
            </a:r>
            <a:r>
              <a:rPr kumimoji="0" lang="ru-RU" sz="11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ңге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0D016D19-97E3-42C4-BA4B-8E09980D9E23}"/>
              </a:ext>
            </a:extLst>
          </p:cNvPr>
          <p:cNvSpPr/>
          <p:nvPr/>
        </p:nvSpPr>
        <p:spPr>
          <a:xfrm>
            <a:off x="54275" y="2584720"/>
            <a:ext cx="4503111" cy="410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С: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,7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</a:t>
            </a:r>
            <a:r>
              <a:rPr kumimoji="0" lang="ru-RU" sz="11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ңге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2" name="Прямая соединительная линия 3">
            <a:extLst>
              <a:ext uri="{FF2B5EF4-FFF2-40B4-BE49-F238E27FC236}">
                <a16:creationId xmlns:a16="http://schemas.microsoft.com/office/drawing/2014/main" id="{B7FF072B-555A-A8D2-E4BE-0E0F0A5AD771}"/>
              </a:ext>
            </a:extLst>
          </p:cNvPr>
          <p:cNvCxnSpPr>
            <a:cxnSpLocks/>
          </p:cNvCxnSpPr>
          <p:nvPr/>
        </p:nvCxnSpPr>
        <p:spPr>
          <a:xfrm flipH="1" flipV="1">
            <a:off x="4656299" y="999914"/>
            <a:ext cx="9377" cy="5482502"/>
          </a:xfrm>
          <a:prstGeom prst="line">
            <a:avLst/>
          </a:prstGeom>
          <a:ln w="952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416420"/>
              </p:ext>
            </p:extLst>
          </p:nvPr>
        </p:nvGraphicFramePr>
        <p:xfrm>
          <a:off x="67902" y="3551392"/>
          <a:ext cx="4466646" cy="12938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402507509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2054858930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244640947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9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іктер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лгілері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бар ҰК </a:t>
                      </a: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рмағының</a:t>
                      </a:r>
                      <a:r>
                        <a:rPr lang="ru-RU" sz="1600" dirty="0" smtClean="0">
                          <a:effectLst/>
                        </a:rPr>
                        <a:t> </a:t>
                      </a:r>
                      <a:r>
                        <a:rPr kumimoji="0" lang="ru-RU" sz="14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400" b="0" i="1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r>
                        <a:rPr kumimoji="0" lang="ru-RU" sz="1400" b="0" i="1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400" b="0" i="1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үргізілді</a:t>
                      </a:r>
                      <a:r>
                        <a:rPr kumimoji="0" lang="ru-RU" sz="14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</a:t>
                      </a:r>
                      <a:endParaRPr kumimoji="0" lang="ru-RU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,5 </a:t>
                      </a: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лн. </a:t>
                      </a:r>
                      <a:r>
                        <a:rPr kumimoji="0" lang="ru-RU" sz="14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ең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0643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1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r>
                        <a:rPr kumimoji="0" lang="ru-RU" sz="1100" b="0" i="1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100" b="0" i="1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рытындысы</a:t>
                      </a:r>
                      <a:r>
                        <a:rPr kumimoji="0" lang="ru-RU" sz="1100" b="0" i="1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100" b="0" i="1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kumimoji="0" lang="kk-KZ" sz="14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  <a:endParaRPr kumimoji="0" lang="ru-RU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01302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688542"/>
              </p:ext>
            </p:extLst>
          </p:nvPr>
        </p:nvGraphicFramePr>
        <p:xfrm>
          <a:off x="0" y="5553627"/>
          <a:ext cx="4466646" cy="932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2072964947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1125277635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0695775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k-KZ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  <a:endParaRPr lang="en-US" sz="20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рмақтар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іктері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лмайды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,2</a:t>
                      </a:r>
                      <a:r>
                        <a:rPr kumimoji="0" lang="kk-KZ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kk-KZ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лн. </a:t>
                      </a:r>
                      <a:r>
                        <a:rPr kumimoji="0" lang="kk-KZ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ең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519892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478580"/>
              </p:ext>
            </p:extLst>
          </p:nvPr>
        </p:nvGraphicFramePr>
        <p:xfrm>
          <a:off x="0" y="4843956"/>
          <a:ext cx="4466646" cy="652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1709190267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780348789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algn="ctr"/>
                      <a:r>
                        <a:rPr lang="kk-KZ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</a:t>
                      </a:r>
                      <a:endParaRPr lang="en-US" sz="20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ұпайлар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іктер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тінде</a:t>
                      </a:r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нықталады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,3</a:t>
                      </a:r>
                      <a:r>
                        <a:rPr kumimoji="0" lang="kk-KZ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kk-KZ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лн. </a:t>
                      </a:r>
                      <a:r>
                        <a:rPr kumimoji="0" lang="kk-KZ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ең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6052050" y="3959342"/>
            <a:ext cx="736600" cy="500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855329" y="936706"/>
            <a:ext cx="7313271" cy="431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Ұсыныстар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764589" y="1366591"/>
            <a:ext cx="1514447" cy="3323104"/>
          </a:xfrm>
          <a:prstGeom prst="rect">
            <a:avLst/>
          </a:prstGeom>
          <a:solidFill>
            <a:srgbClr val="D9D9D9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indent="-8255" algn="ctr">
              <a:defRPr/>
            </a:pP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дер</a:t>
            </a:r>
            <a:endParaRPr lang="ru-RU" sz="16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279036" y="1335304"/>
            <a:ext cx="5800472" cy="3411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ғым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ядағы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і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бесі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ері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лық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ды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ді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endParaRPr lang="ru-RU" sz="16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тарғ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ізуі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іле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лерді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пияс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ға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майды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789283" y="4934139"/>
            <a:ext cx="1489752" cy="1515873"/>
          </a:xfrm>
          <a:prstGeom prst="rect">
            <a:avLst/>
          </a:prstGeom>
          <a:solidFill>
            <a:srgbClr val="D9D9D9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indent="-8255" algn="ctr">
              <a:defRPr/>
            </a:pP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</a:t>
            </a:r>
            <a:r>
              <a:rPr lang="ru-RU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endParaRPr lang="ru-RU" sz="16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279035" y="5034091"/>
            <a:ext cx="5800473" cy="9110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ді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% - дан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м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ю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і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лігіні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демесі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ге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ді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281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КТ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лемелері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рала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10523" y="928452"/>
            <a:ext cx="4669352" cy="6391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sz="2000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лар</a:t>
            </a:r>
            <a:r>
              <a:rPr lang="ru-RU" sz="20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тар</a:t>
            </a:r>
            <a:endParaRPr lang="en-US" sz="20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8822195"/>
              </p:ext>
            </p:extLst>
          </p:nvPr>
        </p:nvGraphicFramePr>
        <p:xfrm>
          <a:off x="296786" y="1444703"/>
          <a:ext cx="11448523" cy="5258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6788">
                  <a:extLst>
                    <a:ext uri="{9D8B030D-6E8A-4147-A177-3AD203B41FA5}">
                      <a16:colId xmlns:a16="http://schemas.microsoft.com/office/drawing/2014/main" val="1709190267"/>
                    </a:ext>
                  </a:extLst>
                </a:gridCol>
                <a:gridCol w="7841735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</a:tblGrid>
              <a:tr h="169445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5%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600" b="1" kern="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анк секторы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0" noProof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(</a:t>
                      </a:r>
                      <a:r>
                        <a:rPr lang="ru-RU" sz="2000" b="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нақты</a:t>
                      </a:r>
                      <a:r>
                        <a:rPr lang="ru-RU" sz="2000" b="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сектор </a:t>
                      </a:r>
                      <a:r>
                        <a:rPr lang="ru-RU" sz="2000" b="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кредиттеуден</a:t>
                      </a:r>
                      <a:r>
                        <a:rPr lang="ru-RU" sz="2000" b="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ЕДБ-</a:t>
                      </a:r>
                      <a:r>
                        <a:rPr lang="ru-RU" sz="2000" b="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нің</a:t>
                      </a:r>
                      <a:r>
                        <a:rPr lang="ru-RU" sz="2000" b="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түскен</a:t>
                      </a:r>
                      <a:r>
                        <a:rPr lang="ru-RU" sz="2000" b="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кірістерін</a:t>
                      </a:r>
                      <a:r>
                        <a:rPr lang="ru-RU" sz="2000" b="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br>
                        <a:rPr lang="ru-RU" sz="2000" b="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</a:br>
                      <a:r>
                        <a:rPr lang="ru-RU" sz="2000" b="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қоспағанда</a:t>
                      </a:r>
                      <a:r>
                        <a:rPr lang="ru-RU" sz="2000" b="0" kern="0" noProof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)</a:t>
                      </a: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ru-RU" sz="2000" b="1" kern="0" noProof="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Ойын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изнесі</a:t>
                      </a:r>
                      <a:r>
                        <a:rPr lang="ru-RU" sz="2000" b="1" kern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 </a:t>
                      </a:r>
                      <a:endParaRPr lang="ru-RU" sz="2000" b="1" kern="0" noProof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  <a:tr h="95948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Жалпы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елгіленген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мөлшерлеме</a:t>
                      </a:r>
                      <a:endParaRPr lang="ru-RU" sz="2000" b="1" kern="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КТС</a:t>
                      </a:r>
                      <a:r>
                        <a:rPr lang="ru-RU" sz="2000" kern="0" baseline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қолданыстағы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мөлшерлемесі</a:t>
                      </a:r>
                      <a:endParaRPr lang="ru-RU" sz="2000" kern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263492"/>
                  </a:ext>
                </a:extLst>
              </a:tr>
              <a:tr h="1601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10%</a:t>
                      </a:r>
                      <a:endParaRPr lang="en-US" sz="36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Өңдеу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өнеркәсібі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үшін</a:t>
                      </a:r>
                      <a:r>
                        <a:rPr lang="ru-RU" sz="2000" b="1" kern="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(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қайта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өлу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деңгейіне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айланысты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),</a:t>
                      </a:r>
                      <a:r>
                        <a:rPr lang="ru-RU" sz="2000" kern="0" baseline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baseline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ә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леуметтік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сала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, 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(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білім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, медицина,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денсаулық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сақтау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),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қаржы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лизинг</a:t>
                      </a:r>
                      <a:endParaRPr lang="ru-RU" sz="2000" b="1" kern="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071666"/>
                  </a:ext>
                </a:extLst>
              </a:tr>
              <a:tr h="96024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Ауыл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шаруашылығы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тауарын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өндірушілер</a:t>
                      </a:r>
                      <a:endParaRPr lang="ru-RU" sz="2000" b="1" kern="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жеңілдікті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ескере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отырып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(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қолданыстағы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) </a:t>
                      </a:r>
                      <a:r>
                        <a:rPr lang="ru-RU" sz="2000" kern="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мөлшерлеме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- 7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547524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180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рд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өңдеу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1/2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098031"/>
            <a:ext cx="11937188" cy="41088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ЭА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-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С/ЖТС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н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қт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ын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мбебап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дік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:</a:t>
            </a:r>
          </a:p>
          <a:p>
            <a:pPr marL="6254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д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%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індег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ференциялары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ін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ым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шинал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дарлам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салу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ғырт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рдел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ңдау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жол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мортизация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6254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іні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С (10%)/ЖТС (5%)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іл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б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ғын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-д</a:t>
            </a:r>
            <a:r>
              <a:rPr lang="kk-KZ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і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сы-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%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068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рд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өңдеу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2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0123" y="5134267"/>
            <a:ext cx="11624650" cy="10387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ылымды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ға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салатын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0% </a:t>
            </a: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лифт</a:t>
            </a:r>
            <a:endParaRPr lang="ru-RU" b="1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ның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іс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ін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ьдо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у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гінде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м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дың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арына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ды</a:t>
            </a:r>
            <a:r>
              <a:rPr lang="ru-RU" kern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4336611"/>
            <a:ext cx="12192000" cy="6254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Қосымша ынталандыру</a:t>
            </a:r>
            <a:endParaRPr lang="en-US" sz="28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1072128"/>
            <a:ext cx="12102345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8480" indent="-2730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йын</a:t>
            </a:r>
            <a:r>
              <a:rPr kumimoji="1"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і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қаннан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ге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дік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да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летін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зат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ын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е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ру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ғы</a:t>
            </a:r>
            <a:endParaRPr kumimoji="1"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8480" lvl="0" indent="-2730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ді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kumimoji="1"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823595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803275" algn="l"/>
              </a:tabLst>
              <a:defRPr/>
            </a:pP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ИК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;</a:t>
            </a:r>
            <a:endParaRPr lang="ru-RU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3595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803275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л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к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л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шылы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с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мыст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н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тау-өткіз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бег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68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>
              <a:defRPr/>
            </a:pPr>
            <a:r>
              <a:rPr lang="ru-RU" sz="2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іне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6993" y="1199341"/>
            <a:ext cx="3837066" cy="133430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С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тар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074059" y="1144211"/>
            <a:ext cx="5219700" cy="147091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КТС 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/>
            </a:endParaRPr>
          </a:p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ставканы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25% </a:t>
            </a:r>
            <a:r>
              <a:rPr lang="ru-RU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дейін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арттыру</a:t>
            </a: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/>
            </a:endParaRPr>
          </a:p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ҚҚС </a:t>
            </a:r>
            <a:endParaRPr kumimoji="0" lang="ru-RU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/>
            </a:endParaRPr>
          </a:p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бас </a:t>
            </a:r>
            <a:r>
              <a:rPr lang="ru-RU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тарту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endParaRPr kumimoji="0" lang="ru-RU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74059" y="3034484"/>
            <a:ext cx="7451002" cy="381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объектілер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бойынша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ставкаларды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ұлғайту</a:t>
            </a:r>
            <a:endParaRPr lang="ru-RU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36993" y="2831374"/>
            <a:ext cx="3837066" cy="8624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і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</a:t>
            </a:r>
            <a:endParaRPr lang="en-US" sz="20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36993" y="3933450"/>
            <a:ext cx="3837066" cy="9809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кмекерлік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74059" y="4015696"/>
            <a:ext cx="7659232" cy="692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3000"/>
              </a:lnSpc>
            </a:pP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д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н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шылард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%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дег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й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74059" y="5316065"/>
            <a:ext cx="7758820" cy="72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ойын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сессияларының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ставкалары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мен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нәтижелеріне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қарамастан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,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ойыншыға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(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қатысушыға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)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нақты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төленген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сомаға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табыс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</a:t>
            </a:r>
            <a:r>
              <a:rPr lang="ru-RU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салығын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 салу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36993" y="5251253"/>
            <a:ext cx="3837066" cy="9809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ТС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417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1_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3</TotalTime>
  <Words>2128</Words>
  <Application>Microsoft Office PowerPoint</Application>
  <PresentationFormat>Широкоэкранный</PresentationFormat>
  <Paragraphs>366</Paragraphs>
  <Slides>1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1" baseType="lpstr">
      <vt:lpstr>ＭＳ Ｐゴシック</vt:lpstr>
      <vt:lpstr>Arial</vt:lpstr>
      <vt:lpstr>Calibri</vt:lpstr>
      <vt:lpstr>Calibri Light</vt:lpstr>
      <vt:lpstr>Century Gothic</vt:lpstr>
      <vt:lpstr>Tahoma</vt:lpstr>
      <vt:lpstr>Wingdings</vt:lpstr>
      <vt:lpstr>Wingdings 3</vt:lpstr>
      <vt:lpstr>1_Тема Office</vt:lpstr>
      <vt:lpstr>Сектор</vt:lpstr>
      <vt:lpstr>1_Сектор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Карина Лазарева</cp:lastModifiedBy>
  <cp:revision>141</cp:revision>
  <cp:lastPrinted>2024-06-04T04:19:04Z</cp:lastPrinted>
  <dcterms:created xsi:type="dcterms:W3CDTF">2024-05-17T10:30:13Z</dcterms:created>
  <dcterms:modified xsi:type="dcterms:W3CDTF">2024-06-19T09:56:15Z</dcterms:modified>
</cp:coreProperties>
</file>